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9"/>
  </p:notesMasterIdLst>
  <p:sldIdLst>
    <p:sldId id="366" r:id="rId2"/>
    <p:sldId id="367" r:id="rId3"/>
    <p:sldId id="369" r:id="rId4"/>
    <p:sldId id="370" r:id="rId5"/>
    <p:sldId id="371" r:id="rId6"/>
    <p:sldId id="372" r:id="rId7"/>
    <p:sldId id="368" r:id="rId8"/>
  </p:sldIdLst>
  <p:sldSz cx="12192000" cy="6858000"/>
  <p:notesSz cx="6858000" cy="9144000"/>
  <p:embeddedFontLst>
    <p:embeddedFont>
      <p:font typeface="Roboto" panose="02000000000000000000" pitchFamily="2" charset="0"/>
      <p:regular r:id="rId10"/>
      <p:bold r:id="rId11"/>
      <p:italic r:id="rId12"/>
      <p:boldItalic r:id="rId13"/>
    </p:embeddedFont>
    <p:embeddedFont>
      <p:font typeface="Rubik" panose="00000500000000000000" pitchFamily="50" charset="-79"/>
      <p:regular r:id="rId14"/>
      <p:bold r:id="rId15"/>
      <p:italic r:id="rId16"/>
    </p:embeddedFont>
    <p:embeddedFont>
      <p:font typeface="Trebuchet MS" panose="020B0603020202020204" pitchFamily="34" charset="0"/>
      <p:regular r:id="rId17"/>
      <p:bold r:id="rId18"/>
      <p:italic r:id="rId19"/>
      <p:boldItalic r:id="rId20"/>
    </p:embeddedFont>
  </p:embeddedFontLst>
  <p:custDataLst>
    <p:tags r:id="rId21"/>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5D9A57-5C25-4D5B-959E-69D59EDFD516}" v="9" dt="2022-02-02T19:15:26.160"/>
  </p1510:revLst>
</p1510:revInfo>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0" d="100"/>
          <a:sy n="80" d="100"/>
        </p:scale>
        <p:origin x="782" y="48"/>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font" Target="fonts/font9.fntdata"/><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6.fntdata"/><Relationship Id="rId23" Type="http://schemas.openxmlformats.org/officeDocument/2006/relationships/viewProps" Target="view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 Sukesh" userId="b367cf50-3d25-45f6-a68d-696afc5b0a2f" providerId="ADAL" clId="{3F5D9A57-5C25-4D5B-959E-69D59EDFD516}"/>
    <pc:docChg chg="undo redo custSel addSld modSld">
      <pc:chgData name="Maya, Sukesh" userId="b367cf50-3d25-45f6-a68d-696afc5b0a2f" providerId="ADAL" clId="{3F5D9A57-5C25-4D5B-959E-69D59EDFD516}" dt="2022-02-02T19:19:15.187" v="1399" actId="20577"/>
      <pc:docMkLst>
        <pc:docMk/>
      </pc:docMkLst>
      <pc:sldChg chg="addSp delSp modSp mod">
        <pc:chgData name="Maya, Sukesh" userId="b367cf50-3d25-45f6-a68d-696afc5b0a2f" providerId="ADAL" clId="{3F5D9A57-5C25-4D5B-959E-69D59EDFD516}" dt="2022-01-30T19:30:59.048" v="555" actId="20577"/>
        <pc:sldMkLst>
          <pc:docMk/>
          <pc:sldMk cId="684571084" sldId="366"/>
        </pc:sldMkLst>
        <pc:spChg chg="add del mod">
          <ac:chgData name="Maya, Sukesh" userId="b367cf50-3d25-45f6-a68d-696afc5b0a2f" providerId="ADAL" clId="{3F5D9A57-5C25-4D5B-959E-69D59EDFD516}" dt="2022-01-30T19:18:48.419" v="90" actId="478"/>
          <ac:spMkLst>
            <pc:docMk/>
            <pc:sldMk cId="684571084" sldId="366"/>
            <ac:spMk id="5" creationId="{BF49C438-68FC-4E2D-8817-13C692F03BE8}"/>
          </ac:spMkLst>
        </pc:spChg>
        <pc:spChg chg="mod">
          <ac:chgData name="Maya, Sukesh" userId="b367cf50-3d25-45f6-a68d-696afc5b0a2f" providerId="ADAL" clId="{3F5D9A57-5C25-4D5B-959E-69D59EDFD516}" dt="2022-01-30T19:30:59.048" v="555" actId="20577"/>
          <ac:spMkLst>
            <pc:docMk/>
            <pc:sldMk cId="684571084" sldId="366"/>
            <ac:spMk id="16" creationId="{6D6DA9F7-DB64-4567-BE8E-E069C1B10127}"/>
          </ac:spMkLst>
        </pc:spChg>
        <pc:spChg chg="mod">
          <ac:chgData name="Maya, Sukesh" userId="b367cf50-3d25-45f6-a68d-696afc5b0a2f" providerId="ADAL" clId="{3F5D9A57-5C25-4D5B-959E-69D59EDFD516}" dt="2022-01-30T19:16:56.031" v="80" actId="20577"/>
          <ac:spMkLst>
            <pc:docMk/>
            <pc:sldMk cId="684571084" sldId="366"/>
            <ac:spMk id="18" creationId="{1A8455E1-E124-45CE-B4DD-AE99CCF9A248}"/>
          </ac:spMkLst>
        </pc:spChg>
        <pc:spChg chg="add del">
          <ac:chgData name="Maya, Sukesh" userId="b367cf50-3d25-45f6-a68d-696afc5b0a2f" providerId="ADAL" clId="{3F5D9A57-5C25-4D5B-959E-69D59EDFD516}" dt="2022-01-30T19:19:54.436" v="112" actId="931"/>
          <ac:spMkLst>
            <pc:docMk/>
            <pc:sldMk cId="684571084" sldId="366"/>
            <ac:spMk id="19" creationId="{BBAF474D-C48B-47A3-AD43-776B973A4A16}"/>
          </ac:spMkLst>
        </pc:spChg>
        <pc:picChg chg="add del mod">
          <ac:chgData name="Maya, Sukesh" userId="b367cf50-3d25-45f6-a68d-696afc5b0a2f" providerId="ADAL" clId="{3F5D9A57-5C25-4D5B-959E-69D59EDFD516}" dt="2022-01-30T19:18:51.354" v="97" actId="931"/>
          <ac:picMkLst>
            <pc:docMk/>
            <pc:sldMk cId="684571084" sldId="366"/>
            <ac:picMk id="3" creationId="{23FBA6A5-061C-42C7-AC0F-48184097A021}"/>
          </ac:picMkLst>
        </pc:picChg>
        <pc:picChg chg="add del mod">
          <ac:chgData name="Maya, Sukesh" userId="b367cf50-3d25-45f6-a68d-696afc5b0a2f" providerId="ADAL" clId="{3F5D9A57-5C25-4D5B-959E-69D59EDFD516}" dt="2022-01-30T19:19:54.436" v="112" actId="931"/>
          <ac:picMkLst>
            <pc:docMk/>
            <pc:sldMk cId="684571084" sldId="366"/>
            <ac:picMk id="9" creationId="{E3C3460D-909E-4AF4-9288-E3F8039B8A8B}"/>
          </ac:picMkLst>
        </pc:picChg>
      </pc:sldChg>
      <pc:sldChg chg="modSp mod">
        <pc:chgData name="Maya, Sukesh" userId="b367cf50-3d25-45f6-a68d-696afc5b0a2f" providerId="ADAL" clId="{3F5D9A57-5C25-4D5B-959E-69D59EDFD516}" dt="2022-02-02T19:14:13.940" v="1146" actId="20577"/>
        <pc:sldMkLst>
          <pc:docMk/>
          <pc:sldMk cId="1022597847" sldId="367"/>
        </pc:sldMkLst>
        <pc:spChg chg="mod">
          <ac:chgData name="Maya, Sukesh" userId="b367cf50-3d25-45f6-a68d-696afc5b0a2f" providerId="ADAL" clId="{3F5D9A57-5C25-4D5B-959E-69D59EDFD516}" dt="2022-01-30T19:21:10.321" v="213" actId="20577"/>
          <ac:spMkLst>
            <pc:docMk/>
            <pc:sldMk cId="1022597847" sldId="367"/>
            <ac:spMk id="2" creationId="{6F28F343-BA60-4E08-9E39-5B5A8795CDA4}"/>
          </ac:spMkLst>
        </pc:spChg>
        <pc:spChg chg="mod">
          <ac:chgData name="Maya, Sukesh" userId="b367cf50-3d25-45f6-a68d-696afc5b0a2f" providerId="ADAL" clId="{3F5D9A57-5C25-4D5B-959E-69D59EDFD516}" dt="2022-02-02T19:14:13.940" v="1146" actId="20577"/>
          <ac:spMkLst>
            <pc:docMk/>
            <pc:sldMk cId="1022597847" sldId="367"/>
            <ac:spMk id="6" creationId="{525CBB0E-B869-4882-8948-65DD257EDC97}"/>
          </ac:spMkLst>
        </pc:spChg>
      </pc:sldChg>
      <pc:sldChg chg="addSp modSp mod">
        <pc:chgData name="Maya, Sukesh" userId="b367cf50-3d25-45f6-a68d-696afc5b0a2f" providerId="ADAL" clId="{3F5D9A57-5C25-4D5B-959E-69D59EDFD516}" dt="2022-02-02T19:13:30.115" v="1123" actId="14100"/>
        <pc:sldMkLst>
          <pc:docMk/>
          <pc:sldMk cId="1336772705" sldId="369"/>
        </pc:sldMkLst>
        <pc:spChg chg="mod">
          <ac:chgData name="Maya, Sukesh" userId="b367cf50-3d25-45f6-a68d-696afc5b0a2f" providerId="ADAL" clId="{3F5D9A57-5C25-4D5B-959E-69D59EDFD516}" dt="2022-02-02T19:09:30.977" v="991" actId="20577"/>
          <ac:spMkLst>
            <pc:docMk/>
            <pc:sldMk cId="1336772705" sldId="369"/>
            <ac:spMk id="5" creationId="{52816D73-16BF-4DE5-9470-389365833768}"/>
          </ac:spMkLst>
        </pc:spChg>
        <pc:spChg chg="mod">
          <ac:chgData name="Maya, Sukesh" userId="b367cf50-3d25-45f6-a68d-696afc5b0a2f" providerId="ADAL" clId="{3F5D9A57-5C25-4D5B-959E-69D59EDFD516}" dt="2022-02-02T19:13:18.009" v="1119" actId="20577"/>
          <ac:spMkLst>
            <pc:docMk/>
            <pc:sldMk cId="1336772705" sldId="369"/>
            <ac:spMk id="6" creationId="{8300A30E-56D3-4B3A-8CDB-4EC8BF085B07}"/>
          </ac:spMkLst>
        </pc:spChg>
        <pc:picChg chg="add mod">
          <ac:chgData name="Maya, Sukesh" userId="b367cf50-3d25-45f6-a68d-696afc5b0a2f" providerId="ADAL" clId="{3F5D9A57-5C25-4D5B-959E-69D59EDFD516}" dt="2022-02-02T19:13:30.115" v="1123" actId="14100"/>
          <ac:picMkLst>
            <pc:docMk/>
            <pc:sldMk cId="1336772705" sldId="369"/>
            <ac:picMk id="8" creationId="{2DC279C0-F11F-4B9E-9D9A-3EF3E1D2523D}"/>
          </ac:picMkLst>
        </pc:picChg>
      </pc:sldChg>
      <pc:sldChg chg="addSp delSp modSp add mod">
        <pc:chgData name="Maya, Sukesh" userId="b367cf50-3d25-45f6-a68d-696afc5b0a2f" providerId="ADAL" clId="{3F5D9A57-5C25-4D5B-959E-69D59EDFD516}" dt="2022-02-02T19:08:26.790" v="978" actId="20577"/>
        <pc:sldMkLst>
          <pc:docMk/>
          <pc:sldMk cId="534871839" sldId="370"/>
        </pc:sldMkLst>
        <pc:spChg chg="mod">
          <ac:chgData name="Maya, Sukesh" userId="b367cf50-3d25-45f6-a68d-696afc5b0a2f" providerId="ADAL" clId="{3F5D9A57-5C25-4D5B-959E-69D59EDFD516}" dt="2022-02-02T18:47:32.297" v="633" actId="20577"/>
          <ac:spMkLst>
            <pc:docMk/>
            <pc:sldMk cId="534871839" sldId="370"/>
            <ac:spMk id="5" creationId="{52816D73-16BF-4DE5-9470-389365833768}"/>
          </ac:spMkLst>
        </pc:spChg>
        <pc:spChg chg="del">
          <ac:chgData name="Maya, Sukesh" userId="b367cf50-3d25-45f6-a68d-696afc5b0a2f" providerId="ADAL" clId="{3F5D9A57-5C25-4D5B-959E-69D59EDFD516}" dt="2022-02-02T18:47:25.121" v="620" actId="22"/>
          <ac:spMkLst>
            <pc:docMk/>
            <pc:sldMk cId="534871839" sldId="370"/>
            <ac:spMk id="6" creationId="{8300A30E-56D3-4B3A-8CDB-4EC8BF085B07}"/>
          </ac:spMkLst>
        </pc:spChg>
        <pc:spChg chg="add mod">
          <ac:chgData name="Maya, Sukesh" userId="b367cf50-3d25-45f6-a68d-696afc5b0a2f" providerId="ADAL" clId="{3F5D9A57-5C25-4D5B-959E-69D59EDFD516}" dt="2022-02-02T19:08:26.790" v="978" actId="20577"/>
          <ac:spMkLst>
            <pc:docMk/>
            <pc:sldMk cId="534871839" sldId="370"/>
            <ac:spMk id="10" creationId="{180F641B-4EFB-4D54-93FC-B016E261B474}"/>
          </ac:spMkLst>
        </pc:spChg>
        <pc:picChg chg="add del mod ord">
          <ac:chgData name="Maya, Sukesh" userId="b367cf50-3d25-45f6-a68d-696afc5b0a2f" providerId="ADAL" clId="{3F5D9A57-5C25-4D5B-959E-69D59EDFD516}" dt="2022-02-02T18:47:42.397" v="635" actId="21"/>
          <ac:picMkLst>
            <pc:docMk/>
            <pc:sldMk cId="534871839" sldId="370"/>
            <ac:picMk id="8" creationId="{6DD8C92C-2737-42DA-AEF7-90D10E151D7C}"/>
          </ac:picMkLst>
        </pc:picChg>
        <pc:picChg chg="add mod">
          <ac:chgData name="Maya, Sukesh" userId="b367cf50-3d25-45f6-a68d-696afc5b0a2f" providerId="ADAL" clId="{3F5D9A57-5C25-4D5B-959E-69D59EDFD516}" dt="2022-02-02T19:06:46.250" v="778" actId="14100"/>
          <ac:picMkLst>
            <pc:docMk/>
            <pc:sldMk cId="534871839" sldId="370"/>
            <ac:picMk id="12" creationId="{4B236DA8-B7BB-4CE7-B91D-399AE96815FC}"/>
          </ac:picMkLst>
        </pc:picChg>
      </pc:sldChg>
      <pc:sldChg chg="addSp delSp modSp add mod">
        <pc:chgData name="Maya, Sukesh" userId="b367cf50-3d25-45f6-a68d-696afc5b0a2f" providerId="ADAL" clId="{3F5D9A57-5C25-4D5B-959E-69D59EDFD516}" dt="2022-02-02T19:08:16.012" v="973" actId="14100"/>
        <pc:sldMkLst>
          <pc:docMk/>
          <pc:sldMk cId="3129718671" sldId="371"/>
        </pc:sldMkLst>
        <pc:spChg chg="mod">
          <ac:chgData name="Maya, Sukesh" userId="b367cf50-3d25-45f6-a68d-696afc5b0a2f" providerId="ADAL" clId="{3F5D9A57-5C25-4D5B-959E-69D59EDFD516}" dt="2022-02-02T18:38:31.210" v="618" actId="20577"/>
          <ac:spMkLst>
            <pc:docMk/>
            <pc:sldMk cId="3129718671" sldId="371"/>
            <ac:spMk id="5" creationId="{52816D73-16BF-4DE5-9470-389365833768}"/>
          </ac:spMkLst>
        </pc:spChg>
        <pc:spChg chg="del">
          <ac:chgData name="Maya, Sukesh" userId="b367cf50-3d25-45f6-a68d-696afc5b0a2f" providerId="ADAL" clId="{3F5D9A57-5C25-4D5B-959E-69D59EDFD516}" dt="2022-02-02T18:38:39.309" v="619" actId="22"/>
          <ac:spMkLst>
            <pc:docMk/>
            <pc:sldMk cId="3129718671" sldId="371"/>
            <ac:spMk id="6" creationId="{8300A30E-56D3-4B3A-8CDB-4EC8BF085B07}"/>
          </ac:spMkLst>
        </pc:spChg>
        <pc:spChg chg="add mod">
          <ac:chgData name="Maya, Sukesh" userId="b367cf50-3d25-45f6-a68d-696afc5b0a2f" providerId="ADAL" clId="{3F5D9A57-5C25-4D5B-959E-69D59EDFD516}" dt="2022-02-02T19:08:03.411" v="969" actId="20577"/>
          <ac:spMkLst>
            <pc:docMk/>
            <pc:sldMk cId="3129718671" sldId="371"/>
            <ac:spMk id="10" creationId="{328B0957-C9FF-49D5-A02C-91F552A23F39}"/>
          </ac:spMkLst>
        </pc:spChg>
        <pc:picChg chg="add del mod ord">
          <ac:chgData name="Maya, Sukesh" userId="b367cf50-3d25-45f6-a68d-696afc5b0a2f" providerId="ADAL" clId="{3F5D9A57-5C25-4D5B-959E-69D59EDFD516}" dt="2022-02-02T19:06:56.619" v="779" actId="21"/>
          <ac:picMkLst>
            <pc:docMk/>
            <pc:sldMk cId="3129718671" sldId="371"/>
            <ac:picMk id="8" creationId="{1F7DB037-870D-4CF0-AC48-062CCE1C9270}"/>
          </ac:picMkLst>
        </pc:picChg>
        <pc:picChg chg="add mod">
          <ac:chgData name="Maya, Sukesh" userId="b367cf50-3d25-45f6-a68d-696afc5b0a2f" providerId="ADAL" clId="{3F5D9A57-5C25-4D5B-959E-69D59EDFD516}" dt="2022-02-02T19:08:16.012" v="973" actId="14100"/>
          <ac:picMkLst>
            <pc:docMk/>
            <pc:sldMk cId="3129718671" sldId="371"/>
            <ac:picMk id="11" creationId="{8E044F8B-316A-4061-8CF8-5C6DC8C07B00}"/>
          </ac:picMkLst>
        </pc:picChg>
      </pc:sldChg>
      <pc:sldChg chg="addSp delSp modSp add mod">
        <pc:chgData name="Maya, Sukesh" userId="b367cf50-3d25-45f6-a68d-696afc5b0a2f" providerId="ADAL" clId="{3F5D9A57-5C25-4D5B-959E-69D59EDFD516}" dt="2022-02-02T19:19:15.187" v="1399" actId="20577"/>
        <pc:sldMkLst>
          <pc:docMk/>
          <pc:sldMk cId="1406323202" sldId="372"/>
        </pc:sldMkLst>
        <pc:spChg chg="mod">
          <ac:chgData name="Maya, Sukesh" userId="b367cf50-3d25-45f6-a68d-696afc5b0a2f" providerId="ADAL" clId="{3F5D9A57-5C25-4D5B-959E-69D59EDFD516}" dt="2022-02-02T19:19:15.187" v="1399" actId="20577"/>
          <ac:spMkLst>
            <pc:docMk/>
            <pc:sldMk cId="1406323202" sldId="372"/>
            <ac:spMk id="5" creationId="{52816D73-16BF-4DE5-9470-389365833768}"/>
          </ac:spMkLst>
        </pc:spChg>
        <pc:spChg chg="mod">
          <ac:chgData name="Maya, Sukesh" userId="b367cf50-3d25-45f6-a68d-696afc5b0a2f" providerId="ADAL" clId="{3F5D9A57-5C25-4D5B-959E-69D59EDFD516}" dt="2022-02-02T19:19:09.392" v="1394" actId="20577"/>
          <ac:spMkLst>
            <pc:docMk/>
            <pc:sldMk cId="1406323202" sldId="372"/>
            <ac:spMk id="6" creationId="{8300A30E-56D3-4B3A-8CDB-4EC8BF085B07}"/>
          </ac:spMkLst>
        </pc:spChg>
        <pc:picChg chg="del">
          <ac:chgData name="Maya, Sukesh" userId="b367cf50-3d25-45f6-a68d-696afc5b0a2f" providerId="ADAL" clId="{3F5D9A57-5C25-4D5B-959E-69D59EDFD516}" dt="2022-02-02T19:16:27.021" v="1148" actId="478"/>
          <ac:picMkLst>
            <pc:docMk/>
            <pc:sldMk cId="1406323202" sldId="372"/>
            <ac:picMk id="8" creationId="{2DC279C0-F11F-4B9E-9D9A-3EF3E1D2523D}"/>
          </ac:picMkLst>
        </pc:picChg>
        <pc:picChg chg="add mod">
          <ac:chgData name="Maya, Sukesh" userId="b367cf50-3d25-45f6-a68d-696afc5b0a2f" providerId="ADAL" clId="{3F5D9A57-5C25-4D5B-959E-69D59EDFD516}" dt="2022-02-02T19:18:16.952" v="1306" actId="14100"/>
          <ac:picMkLst>
            <pc:docMk/>
            <pc:sldMk cId="1406323202" sldId="372"/>
            <ac:picMk id="9" creationId="{1245ED73-F6CB-4A8D-8ACA-841A17A8609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7</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2/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2/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err="1"/>
              <a:t>Zoho</a:t>
            </a:r>
            <a:r>
              <a:rPr lang="en-US" dirty="0"/>
              <a:t> </a:t>
            </a:r>
            <a:r>
              <a:rPr lang="en-US" dirty="0" err="1"/>
              <a:t>Bigin</a:t>
            </a:r>
            <a:r>
              <a:rPr lang="en-US" dirty="0"/>
              <a:t>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Sukesh Maya</a:t>
            </a:r>
          </a:p>
          <a:p>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err="1"/>
              <a:t>Zoho</a:t>
            </a:r>
            <a:r>
              <a:rPr lang="en-US" dirty="0"/>
              <a:t> </a:t>
            </a:r>
            <a:r>
              <a:rPr lang="en-US" dirty="0" err="1"/>
              <a:t>Bigin</a:t>
            </a:r>
            <a:endParaRPr lang="en-US" dirty="0"/>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a:t>
            </a:r>
            <a:r>
              <a:rPr lang="en-IN"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Node.js CLI</a:t>
            </a:r>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 Provider for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Zoho</a:t>
            </a:r>
            <a:r>
              <a:rPr lang="en-GB"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Bigin</a:t>
            </a:r>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a:p>
            <a:r>
              <a:rPr lang="en-US" dirty="0" err="1"/>
              <a:t>Bigin</a:t>
            </a:r>
            <a:r>
              <a:rPr lang="en-US" dirty="0"/>
              <a:t> is a small business CRM used to </a:t>
            </a:r>
            <a:r>
              <a:rPr lang="en-US" b="0" i="0" dirty="0">
                <a:solidFill>
                  <a:srgbClr val="000000"/>
                </a:solidFill>
                <a:effectLst/>
                <a:latin typeface="Roboto" panose="02000000000000000000" pitchFamily="2" charset="0"/>
              </a:rPr>
              <a:t>manage their customer relationships more easily</a:t>
            </a:r>
            <a:r>
              <a:rPr lang="en-US" dirty="0"/>
              <a:t>. This connector will help customers to grow their business by closing the deals quickly by integrating the </a:t>
            </a:r>
            <a:r>
              <a:rPr lang="en-US" dirty="0" err="1"/>
              <a:t>Bigin</a:t>
            </a:r>
            <a:r>
              <a:rPr lang="en-US" dirty="0"/>
              <a:t> CRM system with their internal systems to automate the user management, managing deals, contacts, adding notes, tags, creating and updating records and notifications.</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User APIs</a:t>
            </a:r>
          </a:p>
        </p:txBody>
      </p:sp>
      <p:sp>
        <p:nvSpPr>
          <p:cNvPr id="6" name="Content Placeholder 5">
            <a:extLst>
              <a:ext uri="{FF2B5EF4-FFF2-40B4-BE49-F238E27FC236}">
                <a16:creationId xmlns:a16="http://schemas.microsoft.com/office/drawing/2014/main" id="{8300A30E-56D3-4B3A-8CDB-4EC8BF085B07}"/>
              </a:ext>
            </a:extLst>
          </p:cNvPr>
          <p:cNvSpPr>
            <a:spLocks noGrp="1"/>
          </p:cNvSpPr>
          <p:nvPr>
            <p:ph sz="quarter" idx="21"/>
          </p:nvPr>
        </p:nvSpPr>
        <p:spPr/>
        <p:txBody>
          <a:bodyPr/>
          <a:lstStyle/>
          <a:p>
            <a:r>
              <a:rPr lang="en-IN" dirty="0"/>
              <a:t>User API are to add new users, update existing users, delete the users and get the users data from </a:t>
            </a:r>
            <a:r>
              <a:rPr lang="en-IN" dirty="0" err="1"/>
              <a:t>Bigin</a:t>
            </a:r>
            <a:r>
              <a:rPr lang="en-IN" dirty="0"/>
              <a:t>.</a:t>
            </a:r>
          </a:p>
          <a:p>
            <a:endParaRPr lang="en-IN" dirty="0"/>
          </a:p>
        </p:txBody>
      </p:sp>
      <p:pic>
        <p:nvPicPr>
          <p:cNvPr id="8" name="Picture 7">
            <a:extLst>
              <a:ext uri="{FF2B5EF4-FFF2-40B4-BE49-F238E27FC236}">
                <a16:creationId xmlns:a16="http://schemas.microsoft.com/office/drawing/2014/main" id="{2DC279C0-F11F-4B9E-9D9A-3EF3E1D2523D}"/>
              </a:ext>
            </a:extLst>
          </p:cNvPr>
          <p:cNvPicPr>
            <a:picLocks noChangeAspect="1"/>
          </p:cNvPicPr>
          <p:nvPr/>
        </p:nvPicPr>
        <p:blipFill>
          <a:blip r:embed="rId2"/>
          <a:stretch>
            <a:fillRect/>
          </a:stretch>
        </p:blipFill>
        <p:spPr>
          <a:xfrm>
            <a:off x="361950" y="1772816"/>
            <a:ext cx="11467350" cy="4315792"/>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4</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Record APIs</a:t>
            </a:r>
          </a:p>
        </p:txBody>
      </p:sp>
      <p:sp>
        <p:nvSpPr>
          <p:cNvPr id="10" name="Content Placeholder 9">
            <a:extLst>
              <a:ext uri="{FF2B5EF4-FFF2-40B4-BE49-F238E27FC236}">
                <a16:creationId xmlns:a16="http://schemas.microsoft.com/office/drawing/2014/main" id="{180F641B-4EFB-4D54-93FC-B016E261B474}"/>
              </a:ext>
            </a:extLst>
          </p:cNvPr>
          <p:cNvSpPr>
            <a:spLocks noGrp="1"/>
          </p:cNvSpPr>
          <p:nvPr>
            <p:ph sz="quarter" idx="21"/>
          </p:nvPr>
        </p:nvSpPr>
        <p:spPr/>
        <p:txBody>
          <a:bodyPr/>
          <a:lstStyle/>
          <a:p>
            <a:r>
              <a:rPr lang="en-US" dirty="0"/>
              <a:t>Record APIs are used to insert new records, update existing records, delete the records and get the available records from </a:t>
            </a:r>
            <a:r>
              <a:rPr lang="en-US" dirty="0" err="1"/>
              <a:t>Bigin</a:t>
            </a:r>
            <a:r>
              <a:rPr lang="en-US" dirty="0"/>
              <a:t>.</a:t>
            </a:r>
          </a:p>
          <a:p>
            <a:endParaRPr lang="en-US" dirty="0"/>
          </a:p>
        </p:txBody>
      </p:sp>
      <p:pic>
        <p:nvPicPr>
          <p:cNvPr id="12" name="Picture 11">
            <a:extLst>
              <a:ext uri="{FF2B5EF4-FFF2-40B4-BE49-F238E27FC236}">
                <a16:creationId xmlns:a16="http://schemas.microsoft.com/office/drawing/2014/main" id="{4B236DA8-B7BB-4CE7-B91D-399AE96815FC}"/>
              </a:ext>
            </a:extLst>
          </p:cNvPr>
          <p:cNvPicPr>
            <a:picLocks noChangeAspect="1"/>
          </p:cNvPicPr>
          <p:nvPr/>
        </p:nvPicPr>
        <p:blipFill>
          <a:blip r:embed="rId2"/>
          <a:stretch>
            <a:fillRect/>
          </a:stretch>
        </p:blipFill>
        <p:spPr>
          <a:xfrm>
            <a:off x="361950" y="2086778"/>
            <a:ext cx="11467350" cy="4100317"/>
          </a:xfrm>
          <a:prstGeom prst="rect">
            <a:avLst/>
          </a:prstGeom>
        </p:spPr>
      </p:pic>
    </p:spTree>
    <p:extLst>
      <p:ext uri="{BB962C8B-B14F-4D97-AF65-F5344CB8AC3E}">
        <p14:creationId xmlns:p14="http://schemas.microsoft.com/office/powerpoint/2010/main" val="534871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Notification APIs</a:t>
            </a:r>
          </a:p>
        </p:txBody>
      </p:sp>
      <p:sp>
        <p:nvSpPr>
          <p:cNvPr id="10" name="Content Placeholder 9">
            <a:extLst>
              <a:ext uri="{FF2B5EF4-FFF2-40B4-BE49-F238E27FC236}">
                <a16:creationId xmlns:a16="http://schemas.microsoft.com/office/drawing/2014/main" id="{328B0957-C9FF-49D5-A02C-91F552A23F39}"/>
              </a:ext>
            </a:extLst>
          </p:cNvPr>
          <p:cNvSpPr>
            <a:spLocks noGrp="1"/>
          </p:cNvSpPr>
          <p:nvPr>
            <p:ph sz="quarter" idx="21"/>
          </p:nvPr>
        </p:nvSpPr>
        <p:spPr/>
        <p:txBody>
          <a:bodyPr/>
          <a:lstStyle/>
          <a:p>
            <a:r>
              <a:rPr lang="en-US" dirty="0"/>
              <a:t>Notification APIs are used to enable notifications for module actions, update the notifications, disable the notifications and get the notification details from </a:t>
            </a:r>
            <a:r>
              <a:rPr lang="en-US" dirty="0" err="1"/>
              <a:t>Bigin</a:t>
            </a:r>
            <a:r>
              <a:rPr lang="en-US" dirty="0"/>
              <a:t>.</a:t>
            </a:r>
          </a:p>
          <a:p>
            <a:endParaRPr lang="en-US" dirty="0"/>
          </a:p>
        </p:txBody>
      </p:sp>
      <p:pic>
        <p:nvPicPr>
          <p:cNvPr id="11" name="Content Placeholder 7">
            <a:extLst>
              <a:ext uri="{FF2B5EF4-FFF2-40B4-BE49-F238E27FC236}">
                <a16:creationId xmlns:a16="http://schemas.microsoft.com/office/drawing/2014/main" id="{8E044F8B-316A-4061-8CF8-5C6DC8C07B00}"/>
              </a:ext>
            </a:extLst>
          </p:cNvPr>
          <p:cNvPicPr>
            <a:picLocks noChangeAspect="1"/>
          </p:cNvPicPr>
          <p:nvPr/>
        </p:nvPicPr>
        <p:blipFill>
          <a:blip r:embed="rId2"/>
          <a:stretch>
            <a:fillRect/>
          </a:stretch>
        </p:blipFill>
        <p:spPr>
          <a:xfrm>
            <a:off x="479376" y="1988840"/>
            <a:ext cx="11349923" cy="4064298"/>
          </a:xfrm>
          <a:prstGeom prst="rect">
            <a:avLst/>
          </a:prstGeom>
        </p:spPr>
      </p:pic>
    </p:spTree>
    <p:extLst>
      <p:ext uri="{BB962C8B-B14F-4D97-AF65-F5344CB8AC3E}">
        <p14:creationId xmlns:p14="http://schemas.microsoft.com/office/powerpoint/2010/main" val="3129718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6</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Other APIs</a:t>
            </a:r>
          </a:p>
        </p:txBody>
      </p:sp>
      <p:sp>
        <p:nvSpPr>
          <p:cNvPr id="6" name="Content Placeholder 5">
            <a:extLst>
              <a:ext uri="{FF2B5EF4-FFF2-40B4-BE49-F238E27FC236}">
                <a16:creationId xmlns:a16="http://schemas.microsoft.com/office/drawing/2014/main" id="{8300A30E-56D3-4B3A-8CDB-4EC8BF085B07}"/>
              </a:ext>
            </a:extLst>
          </p:cNvPr>
          <p:cNvSpPr>
            <a:spLocks noGrp="1"/>
          </p:cNvSpPr>
          <p:nvPr>
            <p:ph sz="quarter" idx="21"/>
          </p:nvPr>
        </p:nvSpPr>
        <p:spPr/>
        <p:txBody>
          <a:bodyPr/>
          <a:lstStyle/>
          <a:p>
            <a:r>
              <a:rPr lang="en-IN" dirty="0"/>
              <a:t>We have many other APIs to get the roles data, profiles data, organization data, modules, metadata, adding notes and updating the notes, adding relation between records, adding new tags, updating exiting tags and deleting the tags.</a:t>
            </a:r>
          </a:p>
          <a:p>
            <a:endParaRPr lang="en-IN" dirty="0"/>
          </a:p>
        </p:txBody>
      </p:sp>
      <p:pic>
        <p:nvPicPr>
          <p:cNvPr id="9" name="Picture 8">
            <a:extLst>
              <a:ext uri="{FF2B5EF4-FFF2-40B4-BE49-F238E27FC236}">
                <a16:creationId xmlns:a16="http://schemas.microsoft.com/office/drawing/2014/main" id="{1245ED73-F6CB-4A8D-8ACA-841A17A86092}"/>
              </a:ext>
            </a:extLst>
          </p:cNvPr>
          <p:cNvPicPr>
            <a:picLocks noChangeAspect="1"/>
          </p:cNvPicPr>
          <p:nvPr/>
        </p:nvPicPr>
        <p:blipFill>
          <a:blip r:embed="rId2"/>
          <a:stretch>
            <a:fillRect/>
          </a:stretch>
        </p:blipFill>
        <p:spPr>
          <a:xfrm>
            <a:off x="361200" y="1988840"/>
            <a:ext cx="11468850" cy="4302404"/>
          </a:xfrm>
          <a:prstGeom prst="rect">
            <a:avLst/>
          </a:prstGeom>
        </p:spPr>
      </p:pic>
    </p:spTree>
    <p:extLst>
      <p:ext uri="{BB962C8B-B14F-4D97-AF65-F5344CB8AC3E}">
        <p14:creationId xmlns:p14="http://schemas.microsoft.com/office/powerpoint/2010/main" val="1406323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7</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62</Words>
  <Application>Microsoft Office PowerPoint</Application>
  <PresentationFormat>Widescreen</PresentationFormat>
  <Paragraphs>36</Paragraphs>
  <Slides>7</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Wingdings</vt:lpstr>
      <vt:lpstr>Rubik</vt:lpstr>
      <vt:lpstr>Symbol</vt:lpstr>
      <vt:lpstr>Roboto</vt:lpstr>
      <vt:lpstr>Trebuchet MS</vt:lpstr>
      <vt:lpstr>Software AG 2021</vt:lpstr>
      <vt:lpstr>Zoho Bigin Provider</vt:lpstr>
      <vt:lpstr>Zoho Bigin</vt:lpstr>
      <vt:lpstr>Screenshots for workflow</vt:lpstr>
      <vt:lpstr>Screenshots for workflow</vt:lpstr>
      <vt:lpstr>Screenshots for workflow</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Maya, Sukesh</cp:lastModifiedBy>
  <cp:revision>1</cp:revision>
  <dcterms:created xsi:type="dcterms:W3CDTF">2022-01-10T12:32:13Z</dcterms:created>
  <dcterms:modified xsi:type="dcterms:W3CDTF">2022-02-02T19:19:18Z</dcterms:modified>
</cp:coreProperties>
</file>